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9"/>
  </p:notesMasterIdLst>
  <p:sldIdLst>
    <p:sldId id="350" r:id="rId2"/>
    <p:sldId id="1220" r:id="rId3"/>
    <p:sldId id="1099" r:id="rId4"/>
    <p:sldId id="1100" r:id="rId5"/>
    <p:sldId id="1104" r:id="rId6"/>
    <p:sldId id="1072" r:id="rId7"/>
    <p:sldId id="1101" r:id="rId8"/>
    <p:sldId id="1107" r:id="rId9"/>
    <p:sldId id="1106" r:id="rId10"/>
    <p:sldId id="1108" r:id="rId11"/>
    <p:sldId id="1111" r:id="rId12"/>
    <p:sldId id="1112" r:id="rId13"/>
    <p:sldId id="1113" r:id="rId14"/>
    <p:sldId id="1105" r:id="rId15"/>
    <p:sldId id="1114" r:id="rId16"/>
    <p:sldId id="1076" r:id="rId17"/>
    <p:sldId id="396" r:id="rId18"/>
  </p:sldIdLst>
  <p:sldSz cx="9144000" cy="5143500" type="screen16x9"/>
  <p:notesSz cx="6797675" cy="9926638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9FD3FE-DA1F-4C48-8D8F-B3315A65B517}" v="1" dt="2022-12-20T09:07:58.1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74" autoAdjust="0"/>
    <p:restoredTop sz="94912" autoAdjust="0"/>
  </p:normalViewPr>
  <p:slideViewPr>
    <p:cSldViewPr snapToObjects="1">
      <p:cViewPr varScale="1">
        <p:scale>
          <a:sx n="54" d="100"/>
          <a:sy n="54" d="100"/>
        </p:scale>
        <p:origin x="48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49" tIns="47775" rIns="95549" bIns="47775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9" tIns="47775" rIns="95549" bIns="47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5549" tIns="47775" rIns="95549" bIns="47775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5549" tIns="47775" rIns="95549" bIns="47775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3102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 dirty="0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ervorhebung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 dirty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 dirty="0"/>
              <a:t>Bildunterzeile </a:t>
            </a:r>
            <a:r>
              <a:rPr lang="de-DE" dirty="0" err="1"/>
              <a:t>Bildunterzeile</a:t>
            </a:r>
            <a:r>
              <a:rPr lang="de-DE" dirty="0"/>
              <a:t> // für weitere Ebenen (Text)  &gt;&gt; Menü &gt; Start &gt; Absatz &gt; Listenebene erhöh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err="1"/>
              <a:t>Subline</a:t>
            </a:r>
            <a:r>
              <a:rPr lang="de-DE" dirty="0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 dirty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 dirty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5616525" cy="747193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14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5671"/>
            <a:ext cx="7560000" cy="468000"/>
          </a:xfrm>
        </p:spPr>
        <p:txBody>
          <a:bodyPr/>
          <a:lstStyle/>
          <a:p>
            <a:r>
              <a:rPr lang="de-DE" dirty="0"/>
              <a:t>Demographie: Geburtenentwicklung: Trend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129" y="860994"/>
            <a:ext cx="8694000" cy="3755685"/>
          </a:xfrm>
        </p:spPr>
        <p:txBody>
          <a:bodyPr/>
          <a:lstStyle/>
          <a:p>
            <a:r>
              <a:rPr lang="de-DE" sz="1800" dirty="0">
                <a:solidFill>
                  <a:schemeClr val="accent2"/>
                </a:solidFill>
              </a:rPr>
              <a:t>2) Zunehmende Kinderlosigk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2"/>
                </a:solidFill>
              </a:rPr>
              <a:t>Westen</a:t>
            </a:r>
            <a:r>
              <a:rPr lang="de-DE" sz="1800" b="0" dirty="0"/>
              <a:t>: Über den </a:t>
            </a:r>
            <a:r>
              <a:rPr lang="de-DE" sz="1800" dirty="0"/>
              <a:t>Zeitverlauf zugenomm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Geburtsjahrgang 1937: 11% Kinderlos, 1967: 21% Kinderlos</a:t>
            </a:r>
          </a:p>
          <a:p>
            <a:r>
              <a:rPr lang="de-DE" sz="1800" b="0" dirty="0"/>
              <a:t> </a:t>
            </a: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dirty="0"/>
              <a:t>Jede fünfte 55 jährige Frau </a:t>
            </a:r>
            <a:r>
              <a:rPr lang="de-DE" sz="1800" b="0" dirty="0"/>
              <a:t>(21%) ist </a:t>
            </a:r>
            <a:r>
              <a:rPr lang="de-DE" sz="1800" dirty="0"/>
              <a:t>kinderl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2"/>
                </a:solidFill>
              </a:rPr>
              <a:t>Osten</a:t>
            </a:r>
            <a:r>
              <a:rPr lang="de-DE" sz="1800" b="0" dirty="0"/>
              <a:t>: Zunahme aber im geringeren Ausmaß (politische Maßnahm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Geburtsjahrgang 1937: 9% und 1967: 11%</a:t>
            </a:r>
          </a:p>
          <a:p>
            <a:r>
              <a:rPr lang="de-DE" sz="1800" b="0" dirty="0"/>
              <a:t>Zwei</a:t>
            </a:r>
            <a:r>
              <a:rPr lang="de-DE" sz="1800" dirty="0"/>
              <a:t> Gruppen </a:t>
            </a:r>
            <a:r>
              <a:rPr lang="de-DE" sz="1800" b="0" dirty="0"/>
              <a:t>mit hoher </a:t>
            </a:r>
            <a:r>
              <a:rPr lang="de-DE" sz="1800" dirty="0"/>
              <a:t>Kinderlosigkeit</a:t>
            </a:r>
          </a:p>
          <a:p>
            <a:r>
              <a:rPr lang="de-DE" sz="1800" b="0" dirty="0"/>
              <a:t>1) </a:t>
            </a:r>
            <a:r>
              <a:rPr lang="de-DE" sz="1800" dirty="0"/>
              <a:t>Akademiker*innen </a:t>
            </a:r>
            <a:r>
              <a:rPr lang="de-DE" sz="1800" b="0" dirty="0">
                <a:sym typeface="Wingdings" panose="05000000000000000000" pitchFamily="2" charset="2"/>
              </a:rPr>
              <a:t> lange </a:t>
            </a:r>
            <a:r>
              <a:rPr lang="de-DE" sz="1800" dirty="0">
                <a:sym typeface="Wingdings" panose="05000000000000000000" pitchFamily="2" charset="2"/>
              </a:rPr>
              <a:t>Bildungsphase</a:t>
            </a:r>
            <a:r>
              <a:rPr lang="de-DE" sz="1800" b="0" dirty="0">
                <a:sym typeface="Wingdings" panose="05000000000000000000" pitchFamily="2" charset="2"/>
              </a:rPr>
              <a:t>, DE biografische </a:t>
            </a:r>
            <a:r>
              <a:rPr lang="de-DE" sz="1800" dirty="0">
                <a:sym typeface="Wingdings" panose="05000000000000000000" pitchFamily="2" charset="2"/>
              </a:rPr>
              <a:t>späte Gründung</a:t>
            </a:r>
            <a:r>
              <a:rPr lang="de-DE" sz="1800" b="0" dirty="0">
                <a:sym typeface="Wingdings" panose="05000000000000000000" pitchFamily="2" charset="2"/>
              </a:rPr>
              <a:t>, oft nur ein Kind</a:t>
            </a:r>
            <a:endParaRPr lang="de-DE" sz="1800" b="0" dirty="0"/>
          </a:p>
          <a:p>
            <a:r>
              <a:rPr lang="de-DE" sz="1800" b="0" dirty="0"/>
              <a:t>2) </a:t>
            </a:r>
            <a:r>
              <a:rPr lang="de-DE" sz="1800" dirty="0"/>
              <a:t>Männer</a:t>
            </a:r>
            <a:r>
              <a:rPr lang="de-DE" sz="1800" b="0" dirty="0"/>
              <a:t> mit </a:t>
            </a:r>
            <a:r>
              <a:rPr lang="de-DE" sz="1800" dirty="0"/>
              <a:t>geringen Bildungsabschluss </a:t>
            </a:r>
            <a:r>
              <a:rPr lang="de-DE" sz="1800" b="0" dirty="0">
                <a:sym typeface="Wingdings" panose="05000000000000000000" pitchFamily="2" charset="2"/>
              </a:rPr>
              <a:t>Probleme </a:t>
            </a:r>
            <a:r>
              <a:rPr lang="de-DE" sz="1800" dirty="0">
                <a:sym typeface="Wingdings" panose="05000000000000000000" pitchFamily="2" charset="2"/>
              </a:rPr>
              <a:t>Partner*</a:t>
            </a:r>
            <a:r>
              <a:rPr lang="de-DE" sz="1800" dirty="0" err="1">
                <a:sym typeface="Wingdings" panose="05000000000000000000" pitchFamily="2" charset="2"/>
              </a:rPr>
              <a:t>innenmarkt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513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Datenreport_Anteil der Frauen ohne Kind">
            <a:extLst>
              <a:ext uri="{FF2B5EF4-FFF2-40B4-BE49-F238E27FC236}">
                <a16:creationId xmlns:a16="http://schemas.microsoft.com/office/drawing/2014/main" id="{94D6AB7A-0F2E-3C58-A95E-322BAFA87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00" y="601115"/>
            <a:ext cx="6270070" cy="325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5671"/>
            <a:ext cx="7560000" cy="468000"/>
          </a:xfrm>
        </p:spPr>
        <p:txBody>
          <a:bodyPr/>
          <a:lstStyle/>
          <a:p>
            <a:r>
              <a:rPr lang="de-DE" dirty="0"/>
              <a:t>Demographie: Geburtenentwicklung: Zeitver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60280"/>
            <a:ext cx="8694000" cy="3755685"/>
          </a:xfrm>
        </p:spPr>
        <p:txBody>
          <a:bodyPr/>
          <a:lstStyle/>
          <a:p>
            <a:r>
              <a:rPr lang="de-DE" sz="1800" dirty="0"/>
              <a:t>                                           </a:t>
            </a:r>
            <a:r>
              <a:rPr lang="de-DE" sz="1800" dirty="0">
                <a:solidFill>
                  <a:schemeClr val="accent2"/>
                </a:solidFill>
              </a:rPr>
              <a:t>2) Zunehmende Kinderlosigkeit</a:t>
            </a:r>
          </a:p>
          <a:p>
            <a:endParaRPr lang="de-DE" sz="1800" dirty="0"/>
          </a:p>
          <a:p>
            <a:endParaRPr lang="de-DE" sz="1800" dirty="0"/>
          </a:p>
          <a:p>
            <a:endParaRPr lang="de-DE" sz="1800" dirty="0"/>
          </a:p>
          <a:p>
            <a:endParaRPr lang="de-DE" sz="1800" dirty="0"/>
          </a:p>
          <a:p>
            <a:endParaRPr lang="de-DE" sz="1800" dirty="0"/>
          </a:p>
          <a:p>
            <a:endParaRPr lang="de-DE" sz="1800" dirty="0"/>
          </a:p>
          <a:p>
            <a:r>
              <a:rPr lang="de-DE" sz="1600" b="0" dirty="0"/>
              <a:t>2008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Jahrgang 1933 (2008: 75 J.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Jahrgang 1969 (2008: 39 J.)</a:t>
            </a:r>
            <a:endParaRPr lang="de-DE" sz="1800" dirty="0"/>
          </a:p>
          <a:p>
            <a:endParaRPr lang="de-DE" sz="1800" dirty="0"/>
          </a:p>
          <a:p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B932F65-8DAE-493B-5FBE-8D6C47E5BCFD}"/>
              </a:ext>
            </a:extLst>
          </p:cNvPr>
          <p:cNvSpPr/>
          <p:nvPr/>
        </p:nvSpPr>
        <p:spPr>
          <a:xfrm>
            <a:off x="3491880" y="1635646"/>
            <a:ext cx="2016224" cy="1080120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0C37F58-87BB-65F7-3933-8DAA38CE53AA}"/>
              </a:ext>
            </a:extLst>
          </p:cNvPr>
          <p:cNvCxnSpPr>
            <a:cxnSpLocks/>
          </p:cNvCxnSpPr>
          <p:nvPr/>
        </p:nvCxnSpPr>
        <p:spPr>
          <a:xfrm>
            <a:off x="4355976" y="1504893"/>
            <a:ext cx="0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CE01B53-9476-EAE4-C47B-3969AC7E1DF5}"/>
              </a:ext>
            </a:extLst>
          </p:cNvPr>
          <p:cNvCxnSpPr>
            <a:cxnSpLocks/>
          </p:cNvCxnSpPr>
          <p:nvPr/>
        </p:nvCxnSpPr>
        <p:spPr>
          <a:xfrm>
            <a:off x="1043608" y="1635646"/>
            <a:ext cx="0" cy="864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E8058CC8-ADA9-928E-9C3C-2E8BDB6A0761}"/>
              </a:ext>
            </a:extLst>
          </p:cNvPr>
          <p:cNvSpPr txBox="1"/>
          <p:nvPr/>
        </p:nvSpPr>
        <p:spPr>
          <a:xfrm>
            <a:off x="3275856" y="3807399"/>
            <a:ext cx="2903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0" dirty="0">
                <a:solidFill>
                  <a:schemeClr val="tx2"/>
                </a:solidFill>
                <a:sym typeface="Wingdings" panose="05000000000000000000" pitchFamily="2" charset="2"/>
              </a:rPr>
              <a:t> etwa 15% kinderlos </a:t>
            </a:r>
            <a:endParaRPr lang="de-DE" sz="1400" b="0" dirty="0">
              <a:solidFill>
                <a:schemeClr val="tx2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E13118A-7759-88C8-E7A8-F512AE8681DC}"/>
              </a:ext>
            </a:extLst>
          </p:cNvPr>
          <p:cNvSpPr txBox="1"/>
          <p:nvPr/>
        </p:nvSpPr>
        <p:spPr>
          <a:xfrm>
            <a:off x="3275856" y="4125861"/>
            <a:ext cx="3613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0" dirty="0">
                <a:solidFill>
                  <a:schemeClr val="tx2"/>
                </a:solidFill>
                <a:sym typeface="Wingdings" panose="05000000000000000000" pitchFamily="2" charset="2"/>
              </a:rPr>
              <a:t> etwa W: 28% / O: 18% kinderlos</a:t>
            </a:r>
            <a:endParaRPr lang="de-DE" sz="14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983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8">
            <a:extLst>
              <a:ext uri="{FF2B5EF4-FFF2-40B4-BE49-F238E27FC236}">
                <a16:creationId xmlns:a16="http://schemas.microsoft.com/office/drawing/2014/main" id="{9410CF5E-A65D-7393-4623-868A5CEF9D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9837"/>
            <a:ext cx="5776217" cy="433216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5671"/>
            <a:ext cx="7560000" cy="468000"/>
          </a:xfrm>
        </p:spPr>
        <p:txBody>
          <a:bodyPr/>
          <a:lstStyle/>
          <a:p>
            <a:r>
              <a:rPr lang="de-DE" dirty="0"/>
              <a:t>Demographie: Geburtenentwicklung: Regiona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2080" y="893051"/>
            <a:ext cx="3995933" cy="3755685"/>
          </a:xfrm>
        </p:spPr>
        <p:txBody>
          <a:bodyPr/>
          <a:lstStyle/>
          <a:p>
            <a:r>
              <a:rPr lang="de-DE" sz="1800" dirty="0">
                <a:solidFill>
                  <a:schemeClr val="accent2"/>
                </a:solidFill>
              </a:rPr>
              <a:t>2) Zunehmende Kinderlosigkeit</a:t>
            </a:r>
          </a:p>
          <a:p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Zunächst Stadtstaaten (Single-Hochbur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Dann Westdeutsche Bundeslä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Abschließend Ostdeutsche Länder</a:t>
            </a:r>
          </a:p>
          <a:p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dirty="0">
                <a:sym typeface="Wingdings" panose="05000000000000000000" pitchFamily="2" charset="2"/>
              </a:rPr>
              <a:t>Regionale Unterschiede</a:t>
            </a:r>
            <a:endParaRPr lang="de-DE" sz="1800" dirty="0"/>
          </a:p>
          <a:p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11" name="Geschweifte Klammer links 10">
            <a:extLst>
              <a:ext uri="{FF2B5EF4-FFF2-40B4-BE49-F238E27FC236}">
                <a16:creationId xmlns:a16="http://schemas.microsoft.com/office/drawing/2014/main" id="{F8FEF689-B356-A4F1-3EBB-28F13C3E7783}"/>
              </a:ext>
            </a:extLst>
          </p:cNvPr>
          <p:cNvSpPr/>
          <p:nvPr/>
        </p:nvSpPr>
        <p:spPr>
          <a:xfrm>
            <a:off x="218382" y="1275606"/>
            <a:ext cx="144488" cy="468000"/>
          </a:xfrm>
          <a:prstGeom prst="leftBrac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Geschweifte Klammer links 11">
            <a:extLst>
              <a:ext uri="{FF2B5EF4-FFF2-40B4-BE49-F238E27FC236}">
                <a16:creationId xmlns:a16="http://schemas.microsoft.com/office/drawing/2014/main" id="{4D381E0F-C4FD-FB99-5610-ABD79C6A5D92}"/>
              </a:ext>
            </a:extLst>
          </p:cNvPr>
          <p:cNvSpPr/>
          <p:nvPr/>
        </p:nvSpPr>
        <p:spPr>
          <a:xfrm>
            <a:off x="210469" y="1759867"/>
            <a:ext cx="152400" cy="1319863"/>
          </a:xfrm>
          <a:prstGeom prst="leftBrac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452084D5-DCF6-7212-BAF5-2911C5B9E99D}"/>
              </a:ext>
            </a:extLst>
          </p:cNvPr>
          <p:cNvSpPr/>
          <p:nvPr/>
        </p:nvSpPr>
        <p:spPr>
          <a:xfrm>
            <a:off x="218382" y="3079731"/>
            <a:ext cx="144487" cy="824153"/>
          </a:xfrm>
          <a:prstGeom prst="leftBrac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51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7">
            <a:extLst>
              <a:ext uri="{FF2B5EF4-FFF2-40B4-BE49-F238E27FC236}">
                <a16:creationId xmlns:a16="http://schemas.microsoft.com/office/drawing/2014/main" id="{83732410-D766-9572-A7F3-979CD092F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78586"/>
            <a:ext cx="5878991" cy="440924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5671"/>
            <a:ext cx="7560000" cy="468000"/>
          </a:xfrm>
        </p:spPr>
        <p:txBody>
          <a:bodyPr/>
          <a:lstStyle/>
          <a:p>
            <a:r>
              <a:rPr lang="de-DE" dirty="0"/>
              <a:t>Demographie: Geburtenentwicklung: Europ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0072" y="731042"/>
            <a:ext cx="3995933" cy="3755685"/>
          </a:xfrm>
        </p:spPr>
        <p:txBody>
          <a:bodyPr/>
          <a:lstStyle/>
          <a:p>
            <a:r>
              <a:rPr lang="de-DE" sz="1800" dirty="0">
                <a:solidFill>
                  <a:schemeClr val="accent2"/>
                </a:solidFill>
              </a:rPr>
              <a:t>2) Zunehmende Kinderlosigkeit</a:t>
            </a:r>
            <a:endParaRPr lang="de-DE" sz="1800" b="0" dirty="0"/>
          </a:p>
          <a:p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DE ungefähr im Mittelfeld mit 1,57 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EU Durchschnitt bei 1,59 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Spitzenreiter Frankreich mit 1,9 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Südeuropa (Spanien) Schlusslicht mit 1,31 K</a:t>
            </a:r>
          </a:p>
          <a:p>
            <a:r>
              <a:rPr lang="de-DE" sz="1800" dirty="0">
                <a:sym typeface="Wingdings" panose="05000000000000000000" pitchFamily="2" charset="2"/>
              </a:rPr>
              <a:t> Europäische Unterschiede</a:t>
            </a:r>
          </a:p>
          <a:p>
            <a:r>
              <a:rPr lang="de-DE" sz="1800" dirty="0">
                <a:sym typeface="Wingdings" panose="05000000000000000000" pitchFamily="2" charset="2"/>
              </a:rPr>
              <a:t> Kein europäisches Land erreicht Bestandserhaltungsniveau </a:t>
            </a:r>
            <a:endParaRPr lang="de-DE" sz="1800" dirty="0"/>
          </a:p>
          <a:p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726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9451"/>
            <a:ext cx="7560000" cy="468000"/>
          </a:xfrm>
        </p:spPr>
        <p:txBody>
          <a:bodyPr/>
          <a:lstStyle/>
          <a:p>
            <a:r>
              <a:rPr lang="de-DE" dirty="0"/>
              <a:t>Rückgang Geburtenziffer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745" y="1053197"/>
            <a:ext cx="8856528" cy="3532852"/>
          </a:xfrm>
        </p:spPr>
        <p:txBody>
          <a:bodyPr/>
          <a:lstStyle/>
          <a:p>
            <a:r>
              <a:rPr lang="de-DE" sz="2000" b="0" dirty="0"/>
              <a:t>1) </a:t>
            </a:r>
            <a:r>
              <a:rPr lang="de-DE" sz="2000" b="0" dirty="0">
                <a:solidFill>
                  <a:schemeClr val="accent2"/>
                </a:solidFill>
              </a:rPr>
              <a:t>Lebensbedingungen </a:t>
            </a:r>
            <a:r>
              <a:rPr lang="de-DE" sz="2000" dirty="0">
                <a:solidFill>
                  <a:schemeClr val="accent2"/>
                </a:solidFill>
              </a:rPr>
              <a:t>gegen zahlreiche Geburt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0" dirty="0"/>
              <a:t>Kinder </a:t>
            </a:r>
            <a:r>
              <a:rPr lang="de-DE" sz="2000" dirty="0"/>
              <a:t>nicht</a:t>
            </a:r>
            <a:r>
              <a:rPr lang="de-DE" sz="2000" b="0" dirty="0"/>
              <a:t> mehr </a:t>
            </a:r>
            <a:r>
              <a:rPr lang="de-DE" sz="2000" dirty="0"/>
              <a:t>Existenzsichernd</a:t>
            </a:r>
            <a:r>
              <a:rPr lang="de-DE" sz="2000" b="0" dirty="0"/>
              <a:t> </a:t>
            </a:r>
            <a:r>
              <a:rPr lang="de-DE" sz="2000" b="0" dirty="0">
                <a:sym typeface="Wingdings" panose="05000000000000000000" pitchFamily="2" charset="2"/>
              </a:rPr>
              <a:t> sinkende ökonomische Bedeutung (u.a. Alterssicherung &amp; Arbeitskraft)</a:t>
            </a:r>
            <a:endParaRPr lang="de-DE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0" dirty="0"/>
              <a:t>„</a:t>
            </a:r>
            <a:r>
              <a:rPr lang="de-DE" sz="2000" dirty="0"/>
              <a:t>Verantwortungsvolle</a:t>
            </a:r>
            <a:r>
              <a:rPr lang="de-DE" sz="2000" b="0" dirty="0"/>
              <a:t> Elternschaft“ (Qualität nicht Quantität)</a:t>
            </a:r>
          </a:p>
          <a:p>
            <a:r>
              <a:rPr lang="de-DE" sz="2000" b="0" dirty="0">
                <a:solidFill>
                  <a:schemeClr val="accent2"/>
                </a:solidFill>
              </a:rPr>
              <a:t>2) Lebensbedingungen </a:t>
            </a:r>
            <a:r>
              <a:rPr lang="de-DE" sz="2000" dirty="0">
                <a:solidFill>
                  <a:schemeClr val="accent2"/>
                </a:solidFill>
              </a:rPr>
              <a:t>gegen Kin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Lebensstandards</a:t>
            </a:r>
            <a:r>
              <a:rPr lang="de-DE" sz="2000" b="0" dirty="0"/>
              <a:t> sinken (u.a. Finanzierung, Karriere, Arbeitsmarktrisik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Vereinbarkeit</a:t>
            </a:r>
            <a:r>
              <a:rPr lang="de-DE" sz="2000" b="0" dirty="0"/>
              <a:t> von Familie &amp; Beruf (u.a. Frauenerwerbstätigkeit, fehlende Betretungsangebo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0" dirty="0"/>
              <a:t>Alternative </a:t>
            </a:r>
            <a:r>
              <a:rPr lang="de-DE" sz="2000" dirty="0"/>
              <a:t>Präferenzen</a:t>
            </a:r>
            <a:r>
              <a:rPr lang="de-DE" sz="2000" b="0" dirty="0"/>
              <a:t>/ Lebensformen (u.a. Individualisierung &amp; veränderte Paarbeziehung, Akzeptanz Kinderlosigkeit)</a:t>
            </a:r>
          </a:p>
          <a:p>
            <a:endParaRPr lang="de-DE" sz="20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23468553-8768-501B-1D3E-50738EE3A8E9}"/>
              </a:ext>
            </a:extLst>
          </p:cNvPr>
          <p:cNvSpPr/>
          <p:nvPr/>
        </p:nvSpPr>
        <p:spPr>
          <a:xfrm>
            <a:off x="6300192" y="266148"/>
            <a:ext cx="2592672" cy="70407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 dirty="0"/>
              <a:t>Ökonomisch Einschneidend &amp; kulturell/soziale Gründe</a:t>
            </a:r>
          </a:p>
        </p:txBody>
      </p:sp>
    </p:spTree>
    <p:extLst>
      <p:ext uri="{BB962C8B-B14F-4D97-AF65-F5344CB8AC3E}">
        <p14:creationId xmlns:p14="http://schemas.microsoft.com/office/powerpoint/2010/main" val="363153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9451"/>
            <a:ext cx="7560000" cy="468000"/>
          </a:xfrm>
        </p:spPr>
        <p:txBody>
          <a:bodyPr/>
          <a:lstStyle/>
          <a:p>
            <a:r>
              <a:rPr lang="de-DE" dirty="0"/>
              <a:t>Demographie: Geburtenziffer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514" y="1056029"/>
            <a:ext cx="8620450" cy="3532852"/>
          </a:xfrm>
        </p:spPr>
        <p:txBody>
          <a:bodyPr/>
          <a:lstStyle/>
          <a:p>
            <a:r>
              <a:rPr lang="de-DE" sz="2000" dirty="0"/>
              <a:t>Bestandserhaltungsniveau:</a:t>
            </a:r>
          </a:p>
          <a:p>
            <a:r>
              <a:rPr lang="de-DE" sz="2000" b="0" dirty="0"/>
              <a:t>= Zahl an Geburten, die erforderlich ist, die Generation der Eltern vollständig zu ersetzen</a:t>
            </a:r>
          </a:p>
          <a:p>
            <a:pPr algn="ctr"/>
            <a:r>
              <a:rPr lang="de-DE" sz="2000" b="0" i="1" dirty="0"/>
              <a:t>„Erhalt der Elterngeneration durch die Kindergeneration“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0" dirty="0"/>
              <a:t>Für jede im Durchschnitt die Geburt einer Tochter erforderlich + weitere Töchter, da nicht alle Neugeborenen das Erwachsenenalter erreichen</a:t>
            </a:r>
          </a:p>
          <a:p>
            <a:endParaRPr lang="de-DE" sz="2000" dirty="0"/>
          </a:p>
          <a:p>
            <a:endParaRPr lang="de-DE" sz="2000" dirty="0"/>
          </a:p>
          <a:p>
            <a:r>
              <a:rPr lang="de-DE" sz="2000" dirty="0"/>
              <a:t>Unterschreitung</a:t>
            </a:r>
            <a:r>
              <a:rPr lang="de-DE" sz="2000" b="0" dirty="0"/>
              <a:t> des Bestandserhaltungsniveau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0" dirty="0"/>
              <a:t>Schrumpfung der Gesellschaft (wie in alle EU-Ländern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7C91AAE4-D750-40E4-64B0-4949BA40C037}"/>
              </a:ext>
            </a:extLst>
          </p:cNvPr>
          <p:cNvSpPr/>
          <p:nvPr/>
        </p:nvSpPr>
        <p:spPr>
          <a:xfrm>
            <a:off x="3077834" y="3003798"/>
            <a:ext cx="2988332" cy="57606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oderne Industrieländer: </a:t>
            </a:r>
          </a:p>
          <a:p>
            <a:pPr algn="ctr"/>
            <a:r>
              <a:rPr lang="de-DE" dirty="0"/>
              <a:t>Durchschnittlich 2.1 Geburten</a:t>
            </a:r>
          </a:p>
        </p:txBody>
      </p:sp>
    </p:spTree>
    <p:extLst>
      <p:ext uri="{BB962C8B-B14F-4D97-AF65-F5344CB8AC3E}">
        <p14:creationId xmlns:p14="http://schemas.microsoft.com/office/powerpoint/2010/main" val="3124807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</a:t>
            </a:r>
            <a:r>
              <a:rPr lang="de-DE"/>
              <a:t>: neunte </a:t>
            </a:r>
            <a:r>
              <a:rPr lang="de-DE" dirty="0"/>
              <a:t>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68" y="1131590"/>
            <a:ext cx="8676736" cy="37959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900" dirty="0"/>
              <a:t>Bevölkerung definieren </a:t>
            </a:r>
            <a:r>
              <a:rPr lang="de-DE" sz="1900" b="0" dirty="0"/>
              <a:t>und aktuelle </a:t>
            </a:r>
            <a:r>
              <a:rPr lang="de-DE" sz="1900" dirty="0"/>
              <a:t>Bevölkerungsgröße</a:t>
            </a:r>
            <a:r>
              <a:rPr lang="de-DE" sz="1900" b="0" dirty="0"/>
              <a:t> </a:t>
            </a:r>
            <a:r>
              <a:rPr lang="de-DE" sz="1900" b="0" dirty="0" err="1"/>
              <a:t>DE‘s</a:t>
            </a:r>
            <a:r>
              <a:rPr lang="de-DE" sz="1900" b="0" dirty="0"/>
              <a:t> k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900" b="0" dirty="0"/>
              <a:t>Die </a:t>
            </a:r>
            <a:r>
              <a:rPr lang="de-DE" sz="1900" dirty="0"/>
              <a:t>Haupttrend</a:t>
            </a:r>
            <a:r>
              <a:rPr lang="de-DE" sz="1900" b="0" dirty="0"/>
              <a:t> des </a:t>
            </a:r>
            <a:r>
              <a:rPr lang="de-DE" sz="1900" dirty="0"/>
              <a:t>demographischen Wandels </a:t>
            </a:r>
            <a:r>
              <a:rPr lang="de-DE" sz="1900" b="0" dirty="0"/>
              <a:t>kennen </a:t>
            </a:r>
          </a:p>
          <a:p>
            <a:pPr marL="342900" indent="-342900">
              <a:buFontTx/>
              <a:buChar char="-"/>
            </a:pPr>
            <a:r>
              <a:rPr lang="de-DE" sz="1900" dirty="0"/>
              <a:t>1) Geburtenrückgang </a:t>
            </a:r>
          </a:p>
          <a:p>
            <a:pPr marL="342900" indent="-342900">
              <a:buFontTx/>
              <a:buChar char="-"/>
            </a:pPr>
            <a:r>
              <a:rPr lang="de-DE" sz="1900" dirty="0">
                <a:solidFill>
                  <a:schemeClr val="bg1">
                    <a:lumMod val="75000"/>
                  </a:schemeClr>
                </a:solidFill>
              </a:rPr>
              <a:t>2) Alterung</a:t>
            </a:r>
          </a:p>
          <a:p>
            <a:pPr marL="342900" indent="-342900">
              <a:buFontTx/>
              <a:buChar char="-"/>
            </a:pPr>
            <a:r>
              <a:rPr lang="de-DE" sz="1900" dirty="0">
                <a:solidFill>
                  <a:schemeClr val="bg1">
                    <a:lumMod val="75000"/>
                  </a:schemeClr>
                </a:solidFill>
              </a:rPr>
              <a:t>3) Migration</a:t>
            </a:r>
          </a:p>
          <a:p>
            <a:r>
              <a:rPr lang="de-DE" sz="1900" b="0" dirty="0"/>
              <a:t>     …  und diese </a:t>
            </a:r>
            <a:r>
              <a:rPr lang="de-DE" sz="1900" dirty="0"/>
              <a:t>bestimmen</a:t>
            </a:r>
            <a:r>
              <a:rPr lang="de-DE" sz="1900" b="0" dirty="0"/>
              <a:t> und </a:t>
            </a:r>
            <a:r>
              <a:rPr lang="de-DE" sz="1900" dirty="0"/>
              <a:t>beschreiben</a:t>
            </a:r>
            <a:r>
              <a:rPr lang="de-DE" sz="1900" b="0" dirty="0"/>
              <a:t> kö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567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421619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Demographie: Fertilität, Mortalität und Migration (Fortsetzung)</a:t>
            </a:r>
            <a:endParaRPr lang="de-DE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413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Demographie:</a:t>
            </a:r>
            <a:br>
              <a:rPr lang="de-DE" dirty="0"/>
            </a:br>
            <a:br>
              <a:rPr lang="de-DE" b="1" dirty="0"/>
            </a:br>
            <a:r>
              <a:rPr lang="de-DE" b="1" dirty="0">
                <a:solidFill>
                  <a:schemeClr val="accent2"/>
                </a:solidFill>
              </a:rPr>
              <a:t>I: Geburtenentwicklung</a:t>
            </a:r>
            <a:br>
              <a:rPr lang="de-DE" dirty="0"/>
            </a:br>
            <a:r>
              <a:rPr lang="de-DE" dirty="0"/>
              <a:t>II:</a:t>
            </a:r>
            <a:r>
              <a:rPr lang="de-DE" b="1" dirty="0"/>
              <a:t> </a:t>
            </a:r>
            <a:r>
              <a:rPr lang="de-DE" dirty="0"/>
              <a:t>Sterblichkeit</a:t>
            </a:r>
            <a:br>
              <a:rPr lang="de-DE" dirty="0"/>
            </a:br>
            <a:r>
              <a:rPr lang="de-DE" dirty="0"/>
              <a:t>III: Migration</a:t>
            </a:r>
            <a:br>
              <a:rPr lang="de-DE" b="1" dirty="0"/>
            </a:b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6902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Bevölkerung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20425"/>
            <a:ext cx="8659897" cy="4056384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</a:t>
            </a:r>
            <a:r>
              <a:rPr lang="de-DE" sz="1800" dirty="0"/>
              <a:t>alle Einwohner*innen</a:t>
            </a:r>
            <a:r>
              <a:rPr lang="de-DE" sz="1800" b="0" dirty="0"/>
              <a:t>, die mit ihrem </a:t>
            </a:r>
            <a:r>
              <a:rPr lang="de-DE" sz="1800" dirty="0"/>
              <a:t>Hauptwohnsitz</a:t>
            </a:r>
            <a:r>
              <a:rPr lang="de-DE" sz="1800" b="0" dirty="0"/>
              <a:t> in der </a:t>
            </a:r>
            <a:r>
              <a:rPr lang="de-DE" sz="1800" dirty="0"/>
              <a:t>BRD</a:t>
            </a:r>
            <a:r>
              <a:rPr lang="de-DE" sz="1800" b="0" dirty="0"/>
              <a:t> gemeldet sind, </a:t>
            </a:r>
            <a:r>
              <a:rPr lang="de-DE" sz="1800" dirty="0"/>
              <a:t>unabhängig</a:t>
            </a:r>
            <a:r>
              <a:rPr lang="de-DE" sz="1800" b="0" dirty="0"/>
              <a:t> von ihrer </a:t>
            </a:r>
            <a:r>
              <a:rPr lang="de-DE" sz="1800" dirty="0"/>
              <a:t>Staatsangehörigkeit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ktuell (2022): 84 079 811 Mio. Mensch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änner 41,4 Mio. vs. Frauen 42,7 Mio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Gesamtheit aller </a:t>
            </a:r>
            <a:r>
              <a:rPr lang="de-DE" sz="1800" dirty="0">
                <a:sym typeface="Wingdings" panose="05000000000000000000" pitchFamily="2" charset="2"/>
              </a:rPr>
              <a:t>Personen</a:t>
            </a:r>
            <a:r>
              <a:rPr lang="de-DE" sz="1800" b="0" dirty="0">
                <a:sym typeface="Wingdings" panose="05000000000000000000" pitchFamily="2" charset="2"/>
              </a:rPr>
              <a:t> in bestimmten </a:t>
            </a:r>
            <a:r>
              <a:rPr lang="de-DE" sz="1800" dirty="0">
                <a:sym typeface="Wingdings" panose="05000000000000000000" pitchFamily="2" charset="2"/>
              </a:rPr>
              <a:t>Gebie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à"/>
            </a:pPr>
            <a:endParaRPr lang="de-DE" sz="1800" dirty="0">
              <a:sym typeface="Wingdings" panose="05000000000000000000" pitchFamily="2" charset="2"/>
            </a:endParaRPr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9FF30B1-DDAC-BF5E-7BF6-10F38F3D7190}"/>
              </a:ext>
            </a:extLst>
          </p:cNvPr>
          <p:cNvSpPr/>
          <p:nvPr/>
        </p:nvSpPr>
        <p:spPr>
          <a:xfrm>
            <a:off x="2143270" y="1851670"/>
            <a:ext cx="2808040" cy="360040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21900"/>
            <a:ext cx="7560000" cy="468000"/>
          </a:xfrm>
        </p:spPr>
        <p:txBody>
          <a:bodyPr/>
          <a:lstStyle/>
          <a:p>
            <a:r>
              <a:rPr lang="de-DE" dirty="0"/>
              <a:t>Bevölkerungsstruktur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645108"/>
            <a:ext cx="8659897" cy="3853283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Merkmale mit denen man Bevölkerungsstruktur bestimm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Alte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Geschlech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Wohno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taatsangehörigkei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Religio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usammensetzung Haushal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rwerbsstatu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981F378-E963-77DA-7F71-6BF9121B5D42}"/>
              </a:ext>
            </a:extLst>
          </p:cNvPr>
          <p:cNvSpPr/>
          <p:nvPr/>
        </p:nvSpPr>
        <p:spPr>
          <a:xfrm>
            <a:off x="324000" y="1185227"/>
            <a:ext cx="2088232" cy="28803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Mind. 4 Beispiele</a:t>
            </a:r>
            <a:r>
              <a:rPr lang="de-DE" sz="1400" dirty="0"/>
              <a:t>: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145DF7E5-1A88-7DC3-3F87-F6EBB3FC836E}"/>
              </a:ext>
            </a:extLst>
          </p:cNvPr>
          <p:cNvSpPr/>
          <p:nvPr/>
        </p:nvSpPr>
        <p:spPr>
          <a:xfrm>
            <a:off x="4860032" y="1995686"/>
            <a:ext cx="2880320" cy="720080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i="1" dirty="0"/>
              <a:t>Warum ist die Bevölkerungsstruktur wichtig zu analysieren/ erfassen?</a:t>
            </a:r>
            <a:endParaRPr lang="de-DE" sz="1800" b="1" i="1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E99FD10-B388-5671-9D9F-89A3E28050C4}"/>
              </a:ext>
            </a:extLst>
          </p:cNvPr>
          <p:cNvSpPr/>
          <p:nvPr/>
        </p:nvSpPr>
        <p:spPr>
          <a:xfrm>
            <a:off x="4860031" y="2934959"/>
            <a:ext cx="2880321" cy="57289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Entwicklungen prognostizieren &amp; passende Maßnahmen ableiten</a:t>
            </a:r>
          </a:p>
          <a:p>
            <a:pPr algn="ctr"/>
            <a:r>
              <a:rPr lang="de-DE" dirty="0"/>
              <a:t>z.B. zukünftiger Kitaplatzbedarf</a:t>
            </a:r>
          </a:p>
        </p:txBody>
      </p:sp>
    </p:spTree>
    <p:extLst>
      <p:ext uri="{BB962C8B-B14F-4D97-AF65-F5344CB8AC3E}">
        <p14:creationId xmlns:p14="http://schemas.microsoft.com/office/powerpoint/2010/main" val="1286590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164387"/>
            <a:ext cx="7560000" cy="468000"/>
          </a:xfrm>
        </p:spPr>
        <p:txBody>
          <a:bodyPr/>
          <a:lstStyle/>
          <a:p>
            <a:r>
              <a:rPr lang="de-DE" dirty="0"/>
              <a:t>Bevölkerungsbeweg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1982" y="645108"/>
            <a:ext cx="9038835" cy="3853283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reignisse, die zur Veränderungen der Größe/ Struktur beitra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Veränderung Bevölkerungsgröße (Rechnung):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1) Differenz</a:t>
            </a:r>
            <a:r>
              <a:rPr lang="de-DE" sz="1800" b="0" dirty="0"/>
              <a:t> zwischen Fertilität und Mortalität </a:t>
            </a: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dirty="0">
                <a:sym typeface="Wingdings" panose="05000000000000000000" pitchFamily="2" charset="2"/>
              </a:rPr>
              <a:t>„natürliche Bevölkerungsbewegung“</a:t>
            </a: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/>
              <a:t>2) Differenz</a:t>
            </a:r>
            <a:r>
              <a:rPr lang="de-DE" sz="1800" b="0" dirty="0"/>
              <a:t> zwischen Zu- und Fortzügen </a:t>
            </a:r>
            <a:r>
              <a:rPr lang="de-DE" sz="1800" b="0" dirty="0">
                <a:sym typeface="Wingdings" panose="05000000000000000000" pitchFamily="2" charset="2"/>
              </a:rPr>
              <a:t> „</a:t>
            </a:r>
            <a:r>
              <a:rPr lang="de-DE" sz="1800" dirty="0">
                <a:sym typeface="Wingdings" panose="05000000000000000000" pitchFamily="2" charset="2"/>
              </a:rPr>
              <a:t>Wanderungssaldo“</a:t>
            </a:r>
            <a:endParaRPr lang="de-DE" sz="18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ADC3E90D-5A8A-3FA2-0AD9-D526ED4D10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4210269"/>
              </p:ext>
            </p:extLst>
          </p:nvPr>
        </p:nvGraphicFramePr>
        <p:xfrm>
          <a:off x="357701" y="1092468"/>
          <a:ext cx="8440394" cy="2263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6919">
                  <a:extLst>
                    <a:ext uri="{9D8B030D-6E8A-4147-A177-3AD203B41FA5}">
                      <a16:colId xmlns:a16="http://schemas.microsoft.com/office/drawing/2014/main" val="3885459243"/>
                    </a:ext>
                  </a:extLst>
                </a:gridCol>
                <a:gridCol w="1580595">
                  <a:extLst>
                    <a:ext uri="{9D8B030D-6E8A-4147-A177-3AD203B41FA5}">
                      <a16:colId xmlns:a16="http://schemas.microsoft.com/office/drawing/2014/main" val="3221649549"/>
                    </a:ext>
                  </a:extLst>
                </a:gridCol>
                <a:gridCol w="4882880">
                  <a:extLst>
                    <a:ext uri="{9D8B030D-6E8A-4147-A177-3AD203B41FA5}">
                      <a16:colId xmlns:a16="http://schemas.microsoft.com/office/drawing/2014/main" val="3389064661"/>
                    </a:ext>
                  </a:extLst>
                </a:gridCol>
              </a:tblGrid>
              <a:tr h="298413">
                <a:tc>
                  <a:txBody>
                    <a:bodyPr/>
                    <a:lstStyle/>
                    <a:p>
                      <a:r>
                        <a:rPr lang="de-DE" sz="1600" dirty="0"/>
                        <a:t>Kenngröß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achbegri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Art der Bewegung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8391150"/>
                  </a:ext>
                </a:extLst>
              </a:tr>
              <a:tr h="60172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700" dirty="0"/>
                        <a:t>1. Gebur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8639863"/>
                  </a:ext>
                </a:extLst>
              </a:tr>
              <a:tr h="64090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700" dirty="0"/>
                        <a:t>2. Sterbefä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4871467"/>
                  </a:ext>
                </a:extLst>
              </a:tr>
              <a:tr h="68558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700" dirty="0"/>
                        <a:t>3. Wanderu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6869159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6F23769D-00CF-F45E-91FA-B16240E34F8A}"/>
              </a:ext>
            </a:extLst>
          </p:cNvPr>
          <p:cNvSpPr txBox="1"/>
          <p:nvPr/>
        </p:nvSpPr>
        <p:spPr>
          <a:xfrm>
            <a:off x="2339752" y="1491630"/>
            <a:ext cx="12298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/>
              <a:t>Fertilitä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A608F19-198B-2FA2-1EC9-5B00789DB9A7}"/>
              </a:ext>
            </a:extLst>
          </p:cNvPr>
          <p:cNvSpPr txBox="1"/>
          <p:nvPr/>
        </p:nvSpPr>
        <p:spPr>
          <a:xfrm>
            <a:off x="2345482" y="2167898"/>
            <a:ext cx="1218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/>
              <a:t>Mortalitä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759F3C2-208A-8E15-1530-DAFD096EC70D}"/>
              </a:ext>
            </a:extLst>
          </p:cNvPr>
          <p:cNvSpPr txBox="1"/>
          <p:nvPr/>
        </p:nvSpPr>
        <p:spPr>
          <a:xfrm>
            <a:off x="2351212" y="2848700"/>
            <a:ext cx="1218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/>
              <a:t>Migratio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0E8229E-4F76-6311-8FCF-70850FFADD36}"/>
              </a:ext>
            </a:extLst>
          </p:cNvPr>
          <p:cNvSpPr txBox="1"/>
          <p:nvPr/>
        </p:nvSpPr>
        <p:spPr>
          <a:xfrm>
            <a:off x="3948388" y="1436084"/>
            <a:ext cx="43207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1" dirty="0"/>
              <a:t>„Wie viele Menschen werden geboren“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dirty="0">
                <a:solidFill>
                  <a:schemeClr val="bg1">
                    <a:lumMod val="75000"/>
                  </a:schemeClr>
                </a:solidFill>
              </a:rPr>
              <a:t>Natürliche Bevölkerungsbewegung</a:t>
            </a:r>
          </a:p>
          <a:p>
            <a:endParaRPr lang="de-DE" sz="18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261F2DC-4A7B-2B01-C46A-EDDC37CF4ED3}"/>
              </a:ext>
            </a:extLst>
          </p:cNvPr>
          <p:cNvSpPr txBox="1"/>
          <p:nvPr/>
        </p:nvSpPr>
        <p:spPr>
          <a:xfrm>
            <a:off x="3976127" y="2024554"/>
            <a:ext cx="43207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1" dirty="0"/>
              <a:t>„Wie viele Menschen sterben weg“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dirty="0">
                <a:solidFill>
                  <a:schemeClr val="bg1">
                    <a:lumMod val="75000"/>
                  </a:schemeClr>
                </a:solidFill>
              </a:rPr>
              <a:t>Natürliche Bevölkerungsbewegung</a:t>
            </a:r>
          </a:p>
          <a:p>
            <a:endParaRPr lang="de-DE" sz="18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6D6A0AB-19AA-0707-40C8-1C0DCE7CE6DB}"/>
              </a:ext>
            </a:extLst>
          </p:cNvPr>
          <p:cNvSpPr txBox="1"/>
          <p:nvPr/>
        </p:nvSpPr>
        <p:spPr>
          <a:xfrm>
            <a:off x="3929106" y="2688356"/>
            <a:ext cx="4949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1" dirty="0"/>
              <a:t>„Wer zieht innerhalb/ weg/ zu Deutschland hin“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dirty="0">
                <a:solidFill>
                  <a:schemeClr val="bg1">
                    <a:lumMod val="75000"/>
                  </a:schemeClr>
                </a:solidFill>
              </a:rPr>
              <a:t>Räumliche Bevölkerungsbewegung</a:t>
            </a:r>
          </a:p>
        </p:txBody>
      </p:sp>
    </p:spTree>
    <p:extLst>
      <p:ext uri="{BB962C8B-B14F-4D97-AF65-F5344CB8AC3E}">
        <p14:creationId xmlns:p14="http://schemas.microsoft.com/office/powerpoint/2010/main" val="132802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2" grpId="0"/>
      <p:bldP spid="13" grpId="0"/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) Geburtenentwicklung: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9A53AF5B-68CE-6535-F2BF-FF661D33A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152049"/>
              </p:ext>
            </p:extLst>
          </p:nvPr>
        </p:nvGraphicFramePr>
        <p:xfrm>
          <a:off x="528617" y="874959"/>
          <a:ext cx="5512788" cy="3570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92829">
                  <a:extLst>
                    <a:ext uri="{9D8B030D-6E8A-4147-A177-3AD203B41FA5}">
                      <a16:colId xmlns:a16="http://schemas.microsoft.com/office/drawing/2014/main" val="3948479584"/>
                    </a:ext>
                  </a:extLst>
                </a:gridCol>
                <a:gridCol w="2519959">
                  <a:extLst>
                    <a:ext uri="{9D8B030D-6E8A-4147-A177-3AD203B41FA5}">
                      <a16:colId xmlns:a16="http://schemas.microsoft.com/office/drawing/2014/main" val="4069527981"/>
                    </a:ext>
                  </a:extLst>
                </a:gridCol>
              </a:tblGrid>
              <a:tr h="326847">
                <a:tc>
                  <a:txBody>
                    <a:bodyPr/>
                    <a:lstStyle/>
                    <a:p>
                      <a:r>
                        <a:rPr lang="de-DE" sz="1600" dirty="0"/>
                        <a:t>Maßzahl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etracht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481291"/>
                  </a:ext>
                </a:extLst>
              </a:tr>
              <a:tr h="1617846">
                <a:tc>
                  <a:txBody>
                    <a:bodyPr/>
                    <a:lstStyle/>
                    <a:p>
                      <a:pPr marL="342900" marR="0" lvl="0" indent="-34290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de-DE" sz="1650" dirty="0">
                          <a:solidFill>
                            <a:schemeClr val="accent2"/>
                          </a:solidFill>
                        </a:rPr>
                        <a:t>Absolute</a:t>
                      </a:r>
                      <a:r>
                        <a:rPr lang="de-DE" sz="1650" dirty="0"/>
                        <a:t> Geburtenzahlen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50" dirty="0"/>
                        <a:t>= </a:t>
                      </a:r>
                      <a:r>
                        <a:rPr lang="de-DE" sz="1650" b="1" dirty="0"/>
                        <a:t>Endgültige</a:t>
                      </a:r>
                      <a:r>
                        <a:rPr lang="de-DE" sz="1650" dirty="0"/>
                        <a:t> </a:t>
                      </a:r>
                      <a:r>
                        <a:rPr lang="de-DE" sz="1650" b="1" dirty="0"/>
                        <a:t>Kinderzahl</a:t>
                      </a:r>
                      <a:r>
                        <a:rPr lang="de-DE" sz="1650" dirty="0"/>
                        <a:t> eines Geburtenjahrga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820745"/>
                  </a:ext>
                </a:extLst>
              </a:tr>
              <a:tr h="161784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50" dirty="0"/>
                        <a:t>2. </a:t>
                      </a:r>
                      <a:r>
                        <a:rPr lang="de-DE" sz="1650" dirty="0">
                          <a:solidFill>
                            <a:schemeClr val="accent2"/>
                          </a:solidFill>
                        </a:rPr>
                        <a:t>Relative</a:t>
                      </a:r>
                      <a:r>
                        <a:rPr lang="de-DE" sz="1650" dirty="0"/>
                        <a:t> Zahlen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50" dirty="0"/>
                        <a:t>= Geburtenhäufigkeit </a:t>
                      </a:r>
                      <a:r>
                        <a:rPr lang="de-DE" sz="1650" dirty="0">
                          <a:sym typeface="Wingdings" panose="05000000000000000000" pitchFamily="2" charset="2"/>
                        </a:rPr>
                        <a:t></a:t>
                      </a:r>
                      <a:endParaRPr lang="de-DE" sz="1650" dirty="0"/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50" dirty="0"/>
                        <a:t>Zusammengefasste </a:t>
                      </a:r>
                      <a:r>
                        <a:rPr lang="de-DE" sz="1650" b="1" dirty="0"/>
                        <a:t>Geburtenziffer</a:t>
                      </a:r>
                      <a:r>
                        <a:rPr lang="de-DE" sz="1650" dirty="0"/>
                        <a:t> (“total </a:t>
                      </a:r>
                      <a:r>
                        <a:rPr lang="de-DE" sz="1650" dirty="0" err="1"/>
                        <a:t>fertility</a:t>
                      </a:r>
                      <a:r>
                        <a:rPr lang="de-DE" sz="1650" dirty="0"/>
                        <a:t> rate“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875802"/>
                  </a:ext>
                </a:extLst>
              </a:tr>
            </a:tbl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4E59078A-DC73-4433-5AE2-C6F39659F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2850" y="483517"/>
            <a:ext cx="2891150" cy="4068361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A22626AB-3367-BE37-CFD3-E269FA82C29D}"/>
              </a:ext>
            </a:extLst>
          </p:cNvPr>
          <p:cNvSpPr txBox="1"/>
          <p:nvPr/>
        </p:nvSpPr>
        <p:spPr>
          <a:xfrm>
            <a:off x="3513367" y="2881450"/>
            <a:ext cx="259228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i="1" dirty="0"/>
              <a:t>„</a:t>
            </a:r>
            <a:r>
              <a:rPr lang="de-DE" sz="1600" b="1" i="1" dirty="0"/>
              <a:t>Durchschnittliche</a:t>
            </a:r>
            <a:r>
              <a:rPr lang="de-DE" sz="1600" i="1" dirty="0"/>
              <a:t> Anzahl der Kinder pro Frau“ </a:t>
            </a:r>
          </a:p>
          <a:p>
            <a:endParaRPr lang="de-DE" sz="1600" dirty="0"/>
          </a:p>
          <a:p>
            <a:r>
              <a:rPr lang="de-DE" sz="1600" dirty="0"/>
              <a:t>Für Kalenderjahr bestimm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A43B6F0-5D45-D5D1-B211-F0875AA8A167}"/>
              </a:ext>
            </a:extLst>
          </p:cNvPr>
          <p:cNvSpPr txBox="1"/>
          <p:nvPr/>
        </p:nvSpPr>
        <p:spPr>
          <a:xfrm>
            <a:off x="3577618" y="1275606"/>
            <a:ext cx="246378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700" i="1" dirty="0"/>
              <a:t>„Jeweilige </a:t>
            </a:r>
            <a:r>
              <a:rPr lang="de-DE" sz="1700" b="1" i="1" dirty="0"/>
              <a:t>Zahl</a:t>
            </a:r>
            <a:r>
              <a:rPr lang="de-DE" sz="1700" i="1" dirty="0"/>
              <a:t> der Lebendgeborenen</a:t>
            </a:r>
            <a:r>
              <a:rPr lang="de-DE" sz="1700" dirty="0"/>
              <a:t>“</a:t>
            </a:r>
          </a:p>
        </p:txBody>
      </p:sp>
      <p:pic>
        <p:nvPicPr>
          <p:cNvPr id="6" name="Grafik 5" descr="Ausrufezeichen mit einfarbiger Füllung">
            <a:extLst>
              <a:ext uri="{FF2B5EF4-FFF2-40B4-BE49-F238E27FC236}">
                <a16:creationId xmlns:a16="http://schemas.microsoft.com/office/drawing/2014/main" id="{D2FF6C63-0488-AB54-7488-5CEAD31395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35848" y="2866960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713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194645"/>
            <a:ext cx="7560000" cy="468000"/>
          </a:xfrm>
        </p:spPr>
        <p:txBody>
          <a:bodyPr/>
          <a:lstStyle/>
          <a:p>
            <a:r>
              <a:rPr lang="de-DE" dirty="0"/>
              <a:t>Geburtenentwicklung: Time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1" y="898717"/>
            <a:ext cx="8786299" cy="3853283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27D43014-7E9E-8E46-FBFC-B6AC403FA750}"/>
              </a:ext>
            </a:extLst>
          </p:cNvPr>
          <p:cNvCxnSpPr>
            <a:cxnSpLocks/>
          </p:cNvCxnSpPr>
          <p:nvPr/>
        </p:nvCxnSpPr>
        <p:spPr>
          <a:xfrm>
            <a:off x="324000" y="1491630"/>
            <a:ext cx="824674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64E2C69-A646-4A52-A575-54FF49E9BC33}"/>
              </a:ext>
            </a:extLst>
          </p:cNvPr>
          <p:cNvCxnSpPr>
            <a:cxnSpLocks/>
          </p:cNvCxnSpPr>
          <p:nvPr/>
        </p:nvCxnSpPr>
        <p:spPr>
          <a:xfrm>
            <a:off x="357701" y="3315488"/>
            <a:ext cx="824674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C868C5F8-8F08-45EC-A09A-75C8A29866FD}"/>
              </a:ext>
            </a:extLst>
          </p:cNvPr>
          <p:cNvSpPr/>
          <p:nvPr/>
        </p:nvSpPr>
        <p:spPr>
          <a:xfrm>
            <a:off x="231947" y="1699246"/>
            <a:ext cx="1739403" cy="28802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Durchsch</a:t>
            </a:r>
            <a:r>
              <a:rPr lang="de-DE" dirty="0"/>
              <a:t>: 6 Kind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7497728-D13B-9464-5649-A2219EF3F6DB}"/>
              </a:ext>
            </a:extLst>
          </p:cNvPr>
          <p:cNvSpPr/>
          <p:nvPr/>
        </p:nvSpPr>
        <p:spPr>
          <a:xfrm>
            <a:off x="2416688" y="2050476"/>
            <a:ext cx="2028315" cy="5695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Sinkende Sterblichkeit-</a:t>
            </a:r>
          </a:p>
          <a:p>
            <a:pPr algn="ctr"/>
            <a:r>
              <a:rPr lang="de-DE" dirty="0"/>
              <a:t>Bevölkerungswachstu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4FE4BE7-C0CC-1121-6320-0DB3DBC85B8F}"/>
              </a:ext>
            </a:extLst>
          </p:cNvPr>
          <p:cNvSpPr/>
          <p:nvPr/>
        </p:nvSpPr>
        <p:spPr>
          <a:xfrm>
            <a:off x="4663229" y="2046173"/>
            <a:ext cx="1715038" cy="5527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Beginn Geburtenrückga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E5506D9-AC94-9A76-AA4D-B9E6202F1AE5}"/>
              </a:ext>
            </a:extLst>
          </p:cNvPr>
          <p:cNvSpPr/>
          <p:nvPr/>
        </p:nvSpPr>
        <p:spPr>
          <a:xfrm>
            <a:off x="6691528" y="1704444"/>
            <a:ext cx="1787710" cy="2776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1934: 1,8 Kinder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8C41BB22-BFA2-5D7E-36BF-CAA28204205D}"/>
              </a:ext>
            </a:extLst>
          </p:cNvPr>
          <p:cNvSpPr/>
          <p:nvPr/>
        </p:nvSpPr>
        <p:spPr>
          <a:xfrm>
            <a:off x="6872601" y="2756986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eute (2019)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ABC16938-9CDA-56FA-D2A6-FEBD56B1C4C7}"/>
              </a:ext>
            </a:extLst>
          </p:cNvPr>
          <p:cNvSpPr/>
          <p:nvPr/>
        </p:nvSpPr>
        <p:spPr>
          <a:xfrm>
            <a:off x="455604" y="2786991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Nachkriegs-zei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8371586-079B-0BD0-DFFF-20C55345C3A8}"/>
              </a:ext>
            </a:extLst>
          </p:cNvPr>
          <p:cNvSpPr/>
          <p:nvPr/>
        </p:nvSpPr>
        <p:spPr>
          <a:xfrm>
            <a:off x="6691528" y="2101370"/>
            <a:ext cx="1787710" cy="2776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1945: 2,1 Kind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DAFB0CD-9636-B820-48EC-12B73D2CA973}"/>
              </a:ext>
            </a:extLst>
          </p:cNvPr>
          <p:cNvSpPr/>
          <p:nvPr/>
        </p:nvSpPr>
        <p:spPr>
          <a:xfrm>
            <a:off x="357701" y="3569139"/>
            <a:ext cx="1787710" cy="2776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1960er: 2,5 Kinder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529C566B-3378-85A5-F406-18D05ED4C417}"/>
              </a:ext>
            </a:extLst>
          </p:cNvPr>
          <p:cNvSpPr/>
          <p:nvPr/>
        </p:nvSpPr>
        <p:spPr>
          <a:xfrm>
            <a:off x="145537" y="3912362"/>
            <a:ext cx="2212038" cy="57491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Baby-Boom &amp; Wirtschaftswunder</a:t>
            </a:r>
          </a:p>
          <a:p>
            <a:pPr algn="ctr"/>
            <a:r>
              <a:rPr lang="de-DE" dirty="0"/>
              <a:t>Bevölkerungswachstu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44F18FD-FA38-5A17-6B3A-66CA7D49ED3E}"/>
              </a:ext>
            </a:extLst>
          </p:cNvPr>
          <p:cNvCxnSpPr/>
          <p:nvPr/>
        </p:nvCxnSpPr>
        <p:spPr>
          <a:xfrm>
            <a:off x="4526270" y="1430404"/>
            <a:ext cx="21567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A789DCFC-E80B-2A3C-9779-DB4202D58E8B}"/>
              </a:ext>
            </a:extLst>
          </p:cNvPr>
          <p:cNvSpPr/>
          <p:nvPr/>
        </p:nvSpPr>
        <p:spPr>
          <a:xfrm>
            <a:off x="2506730" y="2789591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 1965er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A1DCFAE-65BE-007A-7608-ACE99BDA3526}"/>
              </a:ext>
            </a:extLst>
          </p:cNvPr>
          <p:cNvSpPr/>
          <p:nvPr/>
        </p:nvSpPr>
        <p:spPr>
          <a:xfrm>
            <a:off x="2474348" y="3912362"/>
            <a:ext cx="1693920" cy="57491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„Pillenknick“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700313E-1D62-96D0-7894-6434B39CEF15}"/>
              </a:ext>
            </a:extLst>
          </p:cNvPr>
          <p:cNvSpPr/>
          <p:nvPr/>
        </p:nvSpPr>
        <p:spPr>
          <a:xfrm>
            <a:off x="2445731" y="3569698"/>
            <a:ext cx="1787710" cy="2776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Dursch</a:t>
            </a:r>
            <a:r>
              <a:rPr lang="de-DE" dirty="0"/>
              <a:t>: 1,4 Kinder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AC1ECAC5-FA77-B22D-316E-C9744831B731}"/>
              </a:ext>
            </a:extLst>
          </p:cNvPr>
          <p:cNvSpPr/>
          <p:nvPr/>
        </p:nvSpPr>
        <p:spPr>
          <a:xfrm>
            <a:off x="4717382" y="2775187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 1990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003C47C-8A9B-6424-4B47-5C7F43FC5488}"/>
              </a:ext>
            </a:extLst>
          </p:cNvPr>
          <p:cNvSpPr/>
          <p:nvPr/>
        </p:nvSpPr>
        <p:spPr>
          <a:xfrm>
            <a:off x="4283785" y="3900834"/>
            <a:ext cx="2212038" cy="57491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Westen: konstant niedrig</a:t>
            </a:r>
          </a:p>
          <a:p>
            <a:pPr algn="ctr"/>
            <a:r>
              <a:rPr lang="de-DE" dirty="0"/>
              <a:t>Osten: weiter absinkend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91921A7-3467-2D24-8757-9E79D19ADC82}"/>
              </a:ext>
            </a:extLst>
          </p:cNvPr>
          <p:cNvSpPr/>
          <p:nvPr/>
        </p:nvSpPr>
        <p:spPr>
          <a:xfrm>
            <a:off x="6747118" y="3591740"/>
            <a:ext cx="1787710" cy="2776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Dursch</a:t>
            </a:r>
            <a:r>
              <a:rPr lang="de-DE" dirty="0"/>
              <a:t>: 1,54 Kinder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6420F72A-D92D-E626-8D3A-5D59AEB3509C}"/>
              </a:ext>
            </a:extLst>
          </p:cNvPr>
          <p:cNvSpPr/>
          <p:nvPr/>
        </p:nvSpPr>
        <p:spPr>
          <a:xfrm>
            <a:off x="449999" y="831327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ittelalter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15F617E-E664-993C-D526-D24C18CAB643}"/>
              </a:ext>
            </a:extLst>
          </p:cNvPr>
          <p:cNvSpPr/>
          <p:nvPr/>
        </p:nvSpPr>
        <p:spPr>
          <a:xfrm>
            <a:off x="95537" y="2051789"/>
            <a:ext cx="2212038" cy="56851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Hohe Geburtenrate und hohe Sterblichkeit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2A1C26B5-7DCA-7C3A-114A-D2EC6E76ECCC}"/>
              </a:ext>
            </a:extLst>
          </p:cNvPr>
          <p:cNvSpPr/>
          <p:nvPr/>
        </p:nvSpPr>
        <p:spPr>
          <a:xfrm>
            <a:off x="2524655" y="837302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8 Jhd.</a:t>
            </a: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AC7575F6-FE06-793D-F679-5BBED68B058F}"/>
              </a:ext>
            </a:extLst>
          </p:cNvPr>
          <p:cNvSpPr/>
          <p:nvPr/>
        </p:nvSpPr>
        <p:spPr>
          <a:xfrm>
            <a:off x="4717382" y="838555"/>
            <a:ext cx="1155399" cy="44046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päte 19. Jhd.</a:t>
            </a: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7B5F833D-53D4-08DB-D927-FCDF510393AB}"/>
              </a:ext>
            </a:extLst>
          </p:cNvPr>
          <p:cNvSpPr/>
          <p:nvPr/>
        </p:nvSpPr>
        <p:spPr>
          <a:xfrm>
            <a:off x="6910109" y="819759"/>
            <a:ext cx="1155399" cy="65936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20. Jhd./</a:t>
            </a:r>
          </a:p>
          <a:p>
            <a:pPr algn="ctr"/>
            <a:r>
              <a:rPr lang="de-DE" sz="1100" dirty="0"/>
              <a:t>Zwischen-kriegszeit bis Ende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E89FD13-75D1-EEDD-8AC9-2F9EFF6D64EB}"/>
              </a:ext>
            </a:extLst>
          </p:cNvPr>
          <p:cNvSpPr txBox="1"/>
          <p:nvPr/>
        </p:nvSpPr>
        <p:spPr>
          <a:xfrm>
            <a:off x="4481074" y="1479124"/>
            <a:ext cx="21302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3"/>
                </a:solidFill>
              </a:rPr>
              <a:t>Erster Geburtenrückgang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4136744-4B4E-E514-1AEF-E67794A959BF}"/>
              </a:ext>
            </a:extLst>
          </p:cNvPr>
          <p:cNvSpPr txBox="1"/>
          <p:nvPr/>
        </p:nvSpPr>
        <p:spPr>
          <a:xfrm>
            <a:off x="2449788" y="3322271"/>
            <a:ext cx="224652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3"/>
                </a:solidFill>
              </a:rPr>
              <a:t>Zweiter Geburtenrückgang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984363C4-EDB5-7917-B568-E74F0798D4E7}"/>
              </a:ext>
            </a:extLst>
          </p:cNvPr>
          <p:cNvCxnSpPr/>
          <p:nvPr/>
        </p:nvCxnSpPr>
        <p:spPr>
          <a:xfrm>
            <a:off x="2474348" y="3272383"/>
            <a:ext cx="21567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2A660D86-9965-1E63-6978-5DB1110477DC}"/>
              </a:ext>
            </a:extLst>
          </p:cNvPr>
          <p:cNvSpPr/>
          <p:nvPr/>
        </p:nvSpPr>
        <p:spPr>
          <a:xfrm>
            <a:off x="6611341" y="3899312"/>
            <a:ext cx="2212038" cy="57491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Weiterhin niedriges Geburtenniveau</a:t>
            </a:r>
          </a:p>
        </p:txBody>
      </p:sp>
    </p:spTree>
    <p:extLst>
      <p:ext uri="{BB962C8B-B14F-4D97-AF65-F5344CB8AC3E}">
        <p14:creationId xmlns:p14="http://schemas.microsoft.com/office/powerpoint/2010/main" val="245693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83500"/>
            <a:ext cx="7560000" cy="468000"/>
          </a:xfrm>
        </p:spPr>
        <p:txBody>
          <a:bodyPr/>
          <a:lstStyle/>
          <a:p>
            <a:r>
              <a:rPr lang="de-DE" dirty="0"/>
              <a:t>Rückgang Geburtenziffern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571" y="915566"/>
            <a:ext cx="9041022" cy="3532852"/>
          </a:xfrm>
        </p:spPr>
        <p:txBody>
          <a:bodyPr/>
          <a:lstStyle/>
          <a:p>
            <a:endParaRPr lang="de-DE" sz="2000" dirty="0"/>
          </a:p>
          <a:p>
            <a:r>
              <a:rPr lang="de-DE" sz="2000" dirty="0"/>
              <a:t>Zwei</a:t>
            </a:r>
            <a:r>
              <a:rPr lang="de-DE" sz="2000" b="0" dirty="0"/>
              <a:t> maßgebliche </a:t>
            </a:r>
            <a:r>
              <a:rPr lang="de-DE" sz="2000" dirty="0"/>
              <a:t>Faktoren</a:t>
            </a:r>
            <a:r>
              <a:rPr lang="de-DE" sz="2000" b="0" dirty="0"/>
              <a:t> für sinkende Geburtenziffern:</a:t>
            </a:r>
          </a:p>
          <a:p>
            <a:endParaRPr lang="de-DE" sz="2000" dirty="0"/>
          </a:p>
          <a:p>
            <a:r>
              <a:rPr lang="de-DE" sz="2000" dirty="0"/>
              <a:t>1)  Abnehmender Trend von </a:t>
            </a:r>
            <a:r>
              <a:rPr lang="de-DE" sz="2000" dirty="0" err="1"/>
              <a:t>Mehrkindfamilien</a:t>
            </a:r>
            <a:r>
              <a:rPr lang="de-DE" sz="2000" dirty="0"/>
              <a:t> (Trend zu Ein-Kind-Familien)</a:t>
            </a:r>
          </a:p>
          <a:p>
            <a:endParaRPr lang="de-DE" sz="2000" dirty="0"/>
          </a:p>
          <a:p>
            <a:r>
              <a:rPr lang="de-DE" sz="2000" dirty="0"/>
              <a:t>2) Zunehmende Kinderlosigkei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293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55671"/>
            <a:ext cx="7560000" cy="468000"/>
          </a:xfrm>
        </p:spPr>
        <p:txBody>
          <a:bodyPr/>
          <a:lstStyle/>
          <a:p>
            <a:r>
              <a:rPr lang="de-DE" dirty="0"/>
              <a:t>Demographie: Geburtenentwick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0001" y="1199572"/>
            <a:ext cx="5382520" cy="2744356"/>
          </a:xfrm>
        </p:spPr>
        <p:txBody>
          <a:bodyPr/>
          <a:lstStyle/>
          <a:p>
            <a:r>
              <a:rPr lang="de-DE" sz="1800" dirty="0">
                <a:solidFill>
                  <a:schemeClr val="accent2"/>
                </a:solidFill>
              </a:rPr>
              <a:t>1) Abnehmender Trend von </a:t>
            </a:r>
            <a:r>
              <a:rPr lang="de-DE" sz="1800" dirty="0" err="1">
                <a:solidFill>
                  <a:schemeClr val="accent2"/>
                </a:solidFill>
              </a:rPr>
              <a:t>Mehrkindfamilien</a:t>
            </a:r>
            <a:endParaRPr lang="de-DE" sz="18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Zunahme von Kinderlosigkeit bei gleichzeitiger Abnahme von Großfamilien ( 3+)</a:t>
            </a:r>
          </a:p>
          <a:p>
            <a:endParaRPr lang="de-DE" sz="1800" b="0" dirty="0"/>
          </a:p>
          <a:p>
            <a:r>
              <a:rPr lang="de-DE" sz="1800" b="0" dirty="0"/>
              <a:t>Aktuelle Dat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>
                <a:sym typeface="Wingdings" panose="05000000000000000000" pitchFamily="2" charset="2"/>
              </a:rPr>
              <a:t>Mehrkindfamilien</a:t>
            </a:r>
            <a:r>
              <a:rPr lang="de-DE" sz="1800" b="0" dirty="0">
                <a:sym typeface="Wingdings" panose="05000000000000000000" pitchFamily="2" charset="2"/>
              </a:rPr>
              <a:t>: nur noch </a:t>
            </a:r>
            <a:r>
              <a:rPr lang="de-DE" sz="1800" dirty="0">
                <a:sym typeface="Wingdings" panose="05000000000000000000" pitchFamily="2" charset="2"/>
              </a:rPr>
              <a:t>10,6%</a:t>
            </a:r>
            <a:r>
              <a:rPr lang="de-DE" sz="1800" b="0" dirty="0">
                <a:sym typeface="Wingdings" panose="05000000000000000000" pitchFamily="2" charset="2"/>
              </a:rPr>
              <a:t> Familien    haben 3 + Ki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 Trend </a:t>
            </a:r>
            <a:r>
              <a:rPr lang="de-DE" sz="1800" dirty="0">
                <a:sym typeface="Wingdings" panose="05000000000000000000" pitchFamily="2" charset="2"/>
              </a:rPr>
              <a:t>1 Kind-Familie</a:t>
            </a:r>
            <a:r>
              <a:rPr lang="de-DE" sz="1800" b="0" dirty="0">
                <a:sym typeface="Wingdings" panose="05000000000000000000" pitchFamily="2" charset="2"/>
              </a:rPr>
              <a:t>: </a:t>
            </a:r>
            <a:r>
              <a:rPr lang="de-DE" sz="1800" dirty="0">
                <a:sym typeface="Wingdings" panose="05000000000000000000" pitchFamily="2" charset="2"/>
              </a:rPr>
              <a:t>52,9%</a:t>
            </a:r>
            <a:r>
              <a:rPr lang="de-DE" sz="1800" b="0" dirty="0">
                <a:sym typeface="Wingdings" panose="05000000000000000000" pitchFamily="2" charset="2"/>
              </a:rPr>
              <a:t> haben 1 Kind </a:t>
            </a:r>
          </a:p>
          <a:p>
            <a:r>
              <a:rPr lang="de-DE" sz="1800" b="0" dirty="0">
                <a:sym typeface="Wingdings" panose="05000000000000000000" pitchFamily="2" charset="2"/>
              </a:rPr>
              <a:t>Stand 2015</a:t>
            </a: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2391A617-1026-8C70-F2C1-16BBFE7240AB}"/>
              </a:ext>
            </a:extLst>
          </p:cNvPr>
          <p:cNvSpPr txBox="1">
            <a:spLocks/>
          </p:cNvSpPr>
          <p:nvPr/>
        </p:nvSpPr>
        <p:spPr>
          <a:xfrm>
            <a:off x="324000" y="309148"/>
            <a:ext cx="4176832" cy="535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b="0" dirty="0"/>
          </a:p>
          <a:p>
            <a:r>
              <a:rPr lang="de-DE" sz="1600" b="0" dirty="0"/>
              <a:t>Entwicklungstrend (Beispiel 1940-1960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D5E47C3-4CF2-0981-1A09-5FF6BE610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966767"/>
            <a:ext cx="3311896" cy="3521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56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1</Words>
  <Application>Microsoft Office PowerPoint</Application>
  <PresentationFormat>Bildschirmpräsentation (16:9)</PresentationFormat>
  <Paragraphs>219</Paragraphs>
  <Slides>17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Calibri</vt:lpstr>
      <vt:lpstr>Calibri-Bold</vt:lpstr>
      <vt:lpstr>Wingdings</vt:lpstr>
      <vt:lpstr>PowerPoint Master RUB</vt:lpstr>
      <vt:lpstr>Tutorium zur VL. Sitzung (14)</vt:lpstr>
      <vt:lpstr>Demographie:  I: Geburtenentwicklung II: Sterblichkeit III: Migration                                                    Degele &amp; Dries (2005)   </vt:lpstr>
      <vt:lpstr>Bevölkerung:</vt:lpstr>
      <vt:lpstr>Bevölkerungsstruktur:</vt:lpstr>
      <vt:lpstr>Bevölkerungsbewegung</vt:lpstr>
      <vt:lpstr>1) Geburtenentwicklung:  </vt:lpstr>
      <vt:lpstr>Geburtenentwicklung: Timeline</vt:lpstr>
      <vt:lpstr>Rückgang Geburtenziffern:</vt:lpstr>
      <vt:lpstr>Demographie: Geburtenentwicklung</vt:lpstr>
      <vt:lpstr>Demographie: Geburtenentwicklung: Trends</vt:lpstr>
      <vt:lpstr>Demographie: Geburtenentwicklung: Zeitverlauf</vt:lpstr>
      <vt:lpstr>Demographie: Geburtenentwicklung: Regional</vt:lpstr>
      <vt:lpstr>Demographie: Geburtenentwicklung: Europa</vt:lpstr>
      <vt:lpstr>Rückgang Geburtenziffern:</vt:lpstr>
      <vt:lpstr>Demographie: Geburtenziffern:</vt:lpstr>
      <vt:lpstr>Lernziele: neunte Sitzung </vt:lpstr>
      <vt:lpstr>Ausblick: nächste Sitzu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67</cp:revision>
  <cp:lastPrinted>2022-05-08T18:17:36Z</cp:lastPrinted>
  <dcterms:created xsi:type="dcterms:W3CDTF">2020-06-22T16:14:58Z</dcterms:created>
  <dcterms:modified xsi:type="dcterms:W3CDTF">2022-12-20T09:41:33Z</dcterms:modified>
</cp:coreProperties>
</file>